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6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8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959" r:id="rId5"/>
    <p:sldMasterId id="2147483823" r:id="rId6"/>
    <p:sldMasterId id="2147483853" r:id="rId7"/>
    <p:sldMasterId id="2147483876" r:id="rId8"/>
    <p:sldMasterId id="2147483901" r:id="rId9"/>
    <p:sldMasterId id="2147483928" r:id="rId10"/>
    <p:sldMasterId id="2147483952" r:id="rId11"/>
    <p:sldMasterId id="2147483978" r:id="rId12"/>
  </p:sldMasterIdLst>
  <p:notesMasterIdLst>
    <p:notesMasterId r:id="rId23"/>
  </p:notesMasterIdLst>
  <p:handoutMasterIdLst>
    <p:handoutMasterId r:id="rId24"/>
  </p:handoutMasterIdLst>
  <p:sldIdLst>
    <p:sldId id="371" r:id="rId13"/>
    <p:sldId id="475" r:id="rId14"/>
    <p:sldId id="488" r:id="rId15"/>
    <p:sldId id="489" r:id="rId16"/>
    <p:sldId id="490" r:id="rId17"/>
    <p:sldId id="491" r:id="rId18"/>
    <p:sldId id="492" r:id="rId19"/>
    <p:sldId id="493" r:id="rId20"/>
    <p:sldId id="494" r:id="rId21"/>
    <p:sldId id="495" r:id="rId22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BE786DE-4E8F-30B6-4D93-0B6F7C06D58A}" name="Omari, Saloa (UT-MC)" initials="" userId="S::s.omari@utwente.nl::876834d6-3a69-4e87-8ebb-54ee1af09f8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1E2328"/>
    <a:srgbClr val="59595B"/>
    <a:srgbClr val="F0F0F0"/>
    <a:srgbClr val="939598"/>
    <a:srgbClr val="231F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FCCC09F-624B-4757-AD88-44837AA679E1}" v="2408" dt="2023-11-01T19:34:43.199"/>
    <p1510:client id="{96F2BE96-1B04-8B26-7CEA-795EF464B969}" v="1" dt="2023-11-01T09:02:29.720"/>
    <p1510:client id="{C12421A8-6A5E-67BB-D7B5-9CBDE35684E9}" v="206" dt="2023-11-06T13:43:26.566"/>
    <p1510:client id="{C2375AC4-36B2-2FB4-08CB-12ABFF1640C1}" v="1" dt="2023-11-01T12:12:33.459"/>
    <p1510:client id="{C8DBC334-8A40-404D-8B2A-99741726F5FC}" v="949" dt="2023-11-01T17:04:57.426"/>
    <p1510:client id="{CD233010-FACE-8454-8F91-4922E3BFD380}" v="112" dt="2023-11-01T19:53:31.855"/>
    <p1510:client id="{FF3804DC-D3BF-4425-B63B-030490FA19F3}" v="38" vWet="40" dt="2023-11-01T16:41:11.0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06/11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982885-60A0-4ED9-9875-2ADCB14366D7}" type="datetimeFigureOut">
              <a:rPr lang="nl-NL" smtClean="0"/>
              <a:t>6-11-2023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C7BD68-236E-4252-AE96-8951DFACD89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105905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975354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854665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504896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904313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36493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352059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719731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510843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447413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2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image" Target="../media/image25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image" Target="../media/image25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fu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B26CFC-DD8F-413E-8D8F-ECDE90506C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47408C-8460-4E32-BD5F-AFCB1ECBEBDE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hlinkClick r:id="" action="ppaction://media"/>
            <a:extLst>
              <a:ext uri="{FF2B5EF4-FFF2-40B4-BE49-F238E27FC236}">
                <a16:creationId xmlns:a16="http://schemas.microsoft.com/office/drawing/2014/main" id="{D8CD8FD4-42F5-4228-BBAC-B5B0238F0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47608"/>
          <a:stretch>
            <a:fillRect/>
          </a:stretch>
        </p:blipFill>
        <p:spPr>
          <a:xfrm>
            <a:off x="6378001" y="0"/>
            <a:ext cx="5814581" cy="6858000"/>
          </a:xfrm>
          <a:custGeom>
            <a:avLst/>
            <a:gdLst>
              <a:gd name="connsiteX0" fmla="*/ 0 w 5814581"/>
              <a:gd name="connsiteY0" fmla="*/ 0 h 6858000"/>
              <a:gd name="connsiteX1" fmla="*/ 5814581 w 5814581"/>
              <a:gd name="connsiteY1" fmla="*/ 0 h 6858000"/>
              <a:gd name="connsiteX2" fmla="*/ 5814581 w 5814581"/>
              <a:gd name="connsiteY2" fmla="*/ 6858000 h 6858000"/>
              <a:gd name="connsiteX3" fmla="*/ 0 w 581458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4581" h="6858000">
                <a:moveTo>
                  <a:pt x="0" y="0"/>
                </a:moveTo>
                <a:lnTo>
                  <a:pt x="5814581" y="0"/>
                </a:lnTo>
                <a:lnTo>
                  <a:pt x="581458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31617-3B78-45B0-A408-0C29B0CDE6FE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B7A8D25C-0FAC-4D82-AB1C-939EFBD51801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28502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hlinkClick r:id="" action="ppaction://media"/>
            <a:extLst>
              <a:ext uri="{FF2B5EF4-FFF2-40B4-BE49-F238E27FC236}">
                <a16:creationId xmlns:a16="http://schemas.microsoft.com/office/drawing/2014/main" id="{0238D2A0-DB3C-4C7B-BFFC-C9389AD6D13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52281"/>
          <a:stretch>
            <a:fillRect/>
          </a:stretch>
        </p:blipFill>
        <p:spPr>
          <a:xfrm>
            <a:off x="6374054" y="0"/>
            <a:ext cx="5817946" cy="6858000"/>
          </a:xfrm>
          <a:custGeom>
            <a:avLst/>
            <a:gdLst>
              <a:gd name="connsiteX0" fmla="*/ 0 w 5817946"/>
              <a:gd name="connsiteY0" fmla="*/ 0 h 6858000"/>
              <a:gd name="connsiteX1" fmla="*/ 5817946 w 5817946"/>
              <a:gd name="connsiteY1" fmla="*/ 0 h 6858000"/>
              <a:gd name="connsiteX2" fmla="*/ 5817946 w 5817946"/>
              <a:gd name="connsiteY2" fmla="*/ 6858000 h 6858000"/>
              <a:gd name="connsiteX3" fmla="*/ 0 w 58179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7946" h="6858000">
                <a:moveTo>
                  <a:pt x="0" y="0"/>
                </a:moveTo>
                <a:lnTo>
                  <a:pt x="5817946" y="0"/>
                </a:lnTo>
                <a:lnTo>
                  <a:pt x="581794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D2CB3-AF69-44D2-9797-A9FF27C50A78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596F6254-901B-4F80-B3ED-3890E0D82CFB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397549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C64EBF-DA96-4D09-B6A0-839B57073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E15118-1834-4668-AE0B-49301C3182D9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ks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2577283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8F4EE8F-F2A7-4157-BF05-F800ACCB3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C02A3-00A3-4456-8F54-501DF722D8A2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3013308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AF4F0E-035E-45F2-B65B-81AA06170599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35490468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8EC462-1631-40E8-B0D5-89831A461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B5F1CF-2FE8-4D6D-B8B0-AB08EEFE6054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528394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F1681-82CD-4EAF-83C7-52708EF47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40C41C-217D-47B1-8715-8F6D2ECFB501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C8685BA-749B-4E69-9ED0-2B395E8AE1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FC4176D-6512-4994-8E8D-2D32A25655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673029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76853F-5114-4150-8985-629770C189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1FC676-BE8B-421E-A8D3-F25BC5CB836D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CDC7C8E-A2EE-4B12-9D11-4A9C62FEFD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2A28D3-3B72-4C61-8367-D3BF0CF8FF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0312849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grey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9B182E-EADE-4F63-84B6-6B8F23673E95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402278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 pictur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8595740-23EA-4A7F-99CE-69F6FD2505E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3A42C0-FC3C-4C49-B8E3-999A43C98187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EEF054-662C-4787-A87A-4951A0016B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EDA23A-69F6-474A-A6FD-A25F98AF77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084EE5F-6C4B-413E-B0DD-8A2CBA80FD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798688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A5CF4-8D7F-469D-868F-32E2F65D5073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 pictur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1782213A-5203-4F9B-A874-7C6B03F260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49E6DB-F8F2-4AB4-B0D6-4C30358FFC63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47F2CA-4D89-4F30-8416-98E6006056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EA9EAC9-CBFD-4B5C-8FE6-28D45CE9FA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F4DE129-7BC9-481F-8B33-0063CF0D95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165035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53A26C-66CC-4058-A7F1-46E0BBA5019D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29965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D36A1-2767-4588-BF1C-A7D7C3AA41E8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0284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ECAD-1046-4445-BC5F-CA2AF3C8AB37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59571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138A8-F878-41A0-B94C-D12DE9B9E301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81860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3621E-DF34-4B1E-9710-201A20351B03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42375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AFB307-41A1-4958-A73E-81757F657750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5062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9BFD0F-6B49-48DF-92B3-F4D5EED86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415E33-1D5A-4EC9-B766-D1E32A2BCB35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31979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B5388F-93AE-4259-9994-223454528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96B9E1-D9D9-4FDB-8981-DECBF1FC631C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86368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ue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5BA5F046-D55E-4D3A-8D9D-68D237FB2D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8306C-845C-4470-B701-51B5D67A3BB0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47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full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BADE169-F6EA-4730-84DD-DF2C98144C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F1E4A-F177-4F91-800B-E1BE8EA46F17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780511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F2709-FEBE-4156-9413-4663CBF5A840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8983892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info with picture full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5F53D3-821D-49BE-80CC-D220C7D07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06E3F7-9953-4A52-AC74-9BBFACF3587B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748537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eading or Chapt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8EC462-1631-40E8-B0D5-89831A461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24113B-2BB2-4E5C-AE22-779B3F1FF6FC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1466516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eading or Chapter grey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DADA8F-31DD-4A07-885C-95F963E3FD7A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40319272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E6E18C3-B18C-4259-BE5E-9992831168A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70D65982-D398-43E3-90F7-CEE79989B5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098F7AC7-6059-4E83-B969-AFC459700F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5AA5B-74DA-4639-9C9A-EB9F1024CA51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4B93F48-E543-4E2A-836A-F0358B85ED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7528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30FD15DA-3BE8-47D2-96E2-19374E513E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7486728F-362C-4E02-A94F-1273897902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BE66C64-9272-4FD8-9E61-381CA0D1C66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AD2AC-DDE3-4777-B655-46771DE5DBD5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31318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25BB7299-E43B-4887-B7AB-E0EEC2F1AF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65C82EE-BAB0-4895-BD11-A7C5EC1518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E589C669-C739-4FE2-A258-D242C4C1ACD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699E7A-74BE-4170-A453-7FA9905F86D6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168615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87F404-59F9-4662-8F5E-E10799EAB6F8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6883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89A4E0-955E-46DA-940E-3E9D5BE0DF74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89369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9C72E8-4816-4FA5-870E-F809C7EA63FF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76124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966CD-A24F-4868-8222-B2B9C630BEF7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57990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D879B3-948F-47D4-A2A2-823AA431B591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727566EC-0A78-4984-9F77-67D3486704C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206105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241657-6C0F-4958-B484-4DEDAF01B046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A0D74F6A-2615-476E-AC1F-19E04356FB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28812AD-D596-454C-9B7F-43B25290DA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FB89E14B-5832-4E5F-AF7E-52A87D706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8649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D543-429F-4D75-880B-261A4D626AEC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6F59E21A-4AF8-4AC8-8219-86AF3F077E9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88E6C37B-B244-41A5-801F-6362B53806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9E8B9B13-5913-43D9-8CF3-E61AC4BC3C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9176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6EA0B-2DED-42D0-A66A-43AE7B4C0278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7248709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54800" y="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54800" y="342720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342720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5BDFF-B3E6-4BD1-AE0D-1EEF5841AC4E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275632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2" y="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83998" y="0"/>
            <a:ext cx="6108002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2720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84000" y="3427200"/>
            <a:ext cx="6108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159594-FBAC-4AE5-97C0-B575D1B096F6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7254978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15276-EE4F-470F-95AD-2B59BECFC168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06372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E0711-DA11-45E0-B6C6-C18309A57B9E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0713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66EDF-F525-4A76-A6ED-58FA284812C1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306919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3C8F94-A7A4-4FEC-8B53-592A9207AB40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561539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2EF8A7-6AD4-4C14-BF53-F5459F75AE02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28898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269FF-AA01-47E8-B670-5EF0820DCDF3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4718314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0900E-0A1A-45CE-81B0-58B996052DE1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366609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0BBD68-B1E1-4C27-9617-998B9162146C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regel 2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3679117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D5CB15-014F-4B51-9C62-24851A69C92F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9568149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E50A46-7A22-4FB2-8295-DB5A67EF147E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94232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573602-BC18-4957-8F85-F500FF2369CF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89800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B7741-9A0B-46D6-B2A8-7FCD60BD34B9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2C575653-961B-4ECF-8634-7F69D4D7F5BE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1765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hite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E2DDDE18-55F3-4C9C-92D3-156E4BA7891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355A9-0B31-4B25-9033-7CC84C532551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5A6904C-8433-470E-AA2E-D6EDC945E16E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907397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black with 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elSlide-Zwart-02">
            <a:hlinkClick r:id="" action="ppaction://media"/>
            <a:extLst>
              <a:ext uri="{FF2B5EF4-FFF2-40B4-BE49-F238E27FC236}">
                <a16:creationId xmlns:a16="http://schemas.microsoft.com/office/drawing/2014/main" id="{3FFCAD3A-CE81-47AF-B3E8-501583BF59BF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4F2B9-F12D-493E-94E6-A3B69C0EB0FD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7654BB1-9854-475A-A7D8-5376F0C2577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0E03D01-8A3A-4B1E-814B-BDE053F093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B5828224-059E-4E26-BD83-DAC159E1F253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338157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5F53D3-821D-49BE-80CC-D220C7D07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BD3D71-5B7E-4E38-8268-381E89C20550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16329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27850-B8E5-403F-BF56-C851B0926125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5571146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C91B8D-134A-4193-BBDD-96B51BBA84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562963-B082-4172-8935-22B28BF76A0B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7603374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dark-gre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2285FE3-8AD2-44B8-9821-2A495C9EC8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41482B-19F0-44E0-AAF2-448270382617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8707468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7428" y="2385479"/>
            <a:ext cx="7190655" cy="259634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8806" y="2386857"/>
            <a:ext cx="7190655" cy="2596348"/>
          </a:xfrm>
          <a:prstGeom prst="rect">
            <a:avLst/>
          </a:prstGeom>
        </p:spPr>
      </p:pic>
      <p:sp>
        <p:nvSpPr>
          <p:cNvPr id="8" name="Oval 7"/>
          <p:cNvSpPr/>
          <p:nvPr userDrawn="1"/>
        </p:nvSpPr>
        <p:spPr>
          <a:xfrm>
            <a:off x="7751570" y="4766481"/>
            <a:ext cx="206122" cy="206142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9" name="Oval 8"/>
          <p:cNvSpPr/>
          <p:nvPr userDrawn="1"/>
        </p:nvSpPr>
        <p:spPr>
          <a:xfrm>
            <a:off x="7676557" y="4851779"/>
            <a:ext cx="107579" cy="107590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10" name="Oval 9"/>
          <p:cNvSpPr/>
          <p:nvPr userDrawn="1"/>
        </p:nvSpPr>
        <p:spPr>
          <a:xfrm>
            <a:off x="7954757" y="3782731"/>
            <a:ext cx="195573" cy="195592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11" name="Oval 10"/>
          <p:cNvSpPr/>
          <p:nvPr userDrawn="1"/>
        </p:nvSpPr>
        <p:spPr>
          <a:xfrm>
            <a:off x="9089270" y="3620070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12" name="Oval 11"/>
          <p:cNvSpPr/>
          <p:nvPr userDrawn="1"/>
        </p:nvSpPr>
        <p:spPr>
          <a:xfrm>
            <a:off x="10172609" y="3735056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3" name="Oval 12"/>
          <p:cNvSpPr/>
          <p:nvPr userDrawn="1"/>
        </p:nvSpPr>
        <p:spPr>
          <a:xfrm>
            <a:off x="9461289" y="4084779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4" name="Oval 13"/>
          <p:cNvSpPr/>
          <p:nvPr userDrawn="1"/>
        </p:nvSpPr>
        <p:spPr>
          <a:xfrm>
            <a:off x="9558520" y="4709720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5" name="Oval 14"/>
          <p:cNvSpPr/>
          <p:nvPr userDrawn="1"/>
        </p:nvSpPr>
        <p:spPr>
          <a:xfrm>
            <a:off x="10584633" y="3914117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6" name="Oval 15"/>
          <p:cNvSpPr/>
          <p:nvPr userDrawn="1"/>
        </p:nvSpPr>
        <p:spPr>
          <a:xfrm>
            <a:off x="11356362" y="2515673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7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464" y="2995057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99" b="1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TITEL NAAM</a:t>
            </a:r>
          </a:p>
        </p:txBody>
      </p:sp>
    </p:spTree>
    <p:extLst>
      <p:ext uri="{BB962C8B-B14F-4D97-AF65-F5344CB8AC3E}">
        <p14:creationId xmlns:p14="http://schemas.microsoft.com/office/powerpoint/2010/main" val="1118433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accel="40000" decel="6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accel="40000" decel="6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9" accel="40000" decel="6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accel="40000" decel="6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3" accel="40000" decel="6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6" accel="40000" decel="6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12" accel="40000" decel="6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accel="40000" decel="6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accel="40000" decel="6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6" presetClass="entr" presetSubtype="3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4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0" presetClass="entr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7428" y="2385479"/>
            <a:ext cx="7190655" cy="259634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8806" y="2386857"/>
            <a:ext cx="7190655" cy="2596348"/>
          </a:xfrm>
          <a:prstGeom prst="rect">
            <a:avLst/>
          </a:prstGeom>
        </p:spPr>
      </p:pic>
      <p:sp>
        <p:nvSpPr>
          <p:cNvPr id="8" name="Oval 7"/>
          <p:cNvSpPr/>
          <p:nvPr userDrawn="1"/>
        </p:nvSpPr>
        <p:spPr>
          <a:xfrm>
            <a:off x="7751570" y="4766481"/>
            <a:ext cx="206122" cy="206142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9" name="Oval 8"/>
          <p:cNvSpPr/>
          <p:nvPr userDrawn="1"/>
        </p:nvSpPr>
        <p:spPr>
          <a:xfrm>
            <a:off x="7676557" y="4851779"/>
            <a:ext cx="107579" cy="107590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10" name="Oval 9"/>
          <p:cNvSpPr/>
          <p:nvPr userDrawn="1"/>
        </p:nvSpPr>
        <p:spPr>
          <a:xfrm>
            <a:off x="7954757" y="3782731"/>
            <a:ext cx="195573" cy="195592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11" name="Oval 10"/>
          <p:cNvSpPr/>
          <p:nvPr userDrawn="1"/>
        </p:nvSpPr>
        <p:spPr>
          <a:xfrm>
            <a:off x="9089270" y="3620070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12" name="Oval 11"/>
          <p:cNvSpPr/>
          <p:nvPr userDrawn="1"/>
        </p:nvSpPr>
        <p:spPr>
          <a:xfrm>
            <a:off x="10172609" y="3735056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3" name="Oval 12"/>
          <p:cNvSpPr/>
          <p:nvPr userDrawn="1"/>
        </p:nvSpPr>
        <p:spPr>
          <a:xfrm>
            <a:off x="9461289" y="4084779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4" name="Oval 13"/>
          <p:cNvSpPr/>
          <p:nvPr userDrawn="1"/>
        </p:nvSpPr>
        <p:spPr>
          <a:xfrm>
            <a:off x="9558520" y="4709720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5" name="Oval 14"/>
          <p:cNvSpPr/>
          <p:nvPr userDrawn="1"/>
        </p:nvSpPr>
        <p:spPr>
          <a:xfrm>
            <a:off x="10584633" y="3914117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6" name="Oval 15"/>
          <p:cNvSpPr/>
          <p:nvPr userDrawn="1"/>
        </p:nvSpPr>
        <p:spPr>
          <a:xfrm>
            <a:off x="11356362" y="2515673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60730" y="4124326"/>
            <a:ext cx="3957251" cy="2518172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681841" y="426810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1</a:t>
            </a:r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90866" y="466904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2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690866" y="506998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3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90866" y="5690146"/>
            <a:ext cx="3692928" cy="9523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buNone/>
              <a:defRPr sz="165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7321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accel="40000" decel="6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accel="40000" decel="6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9" accel="40000" decel="6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accel="40000" decel="6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3" accel="40000" decel="6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6" accel="40000" decel="6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12" accel="40000" decel="6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accel="40000" decel="6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accel="40000" decel="6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6" presetClass="entr" presetSubtype="3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4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0" presetClass="entr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500"/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4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8" grpId="0" uiExpand="1" build="p" animBg="1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1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sp>
        <p:nvSpPr>
          <p:cNvPr id="17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464" y="2995057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99" b="1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TITEL NAAM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9310922" y="3034069"/>
            <a:ext cx="244211" cy="17006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8354612" y="1834696"/>
            <a:ext cx="741759" cy="28093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7849339" y="1651622"/>
            <a:ext cx="263345" cy="18436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7883567" y="2435273"/>
            <a:ext cx="131673" cy="149244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8322560" y="2692605"/>
            <a:ext cx="482800" cy="210697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9192160" y="3790198"/>
            <a:ext cx="232621" cy="25020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974352">
            <a:off x="8711771" y="1325760"/>
            <a:ext cx="625748" cy="460154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4774885" y="1747549"/>
            <a:ext cx="1022658" cy="1268571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5806746" y="4114548"/>
            <a:ext cx="258956" cy="276539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6389028" y="3128491"/>
            <a:ext cx="2238436" cy="1646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096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accel="4000" decel="9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8" presetClass="emph" presetSubtype="0" accel="36000" decel="6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1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4" presetID="2" presetClass="entr" presetSubtype="2" accel="4000" decel="94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8" presetClass="emph" presetSubtype="0" accel="36000" decel="64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5400000">
                                      <p:cBhvr>
                                        <p:cTn id="1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0" presetID="2" presetClass="entr" presetSubtype="2" accel="4000" decel="94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8" presetClass="emph" presetSubtype="0" accel="36000" decel="64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5400000">
                                      <p:cBhvr>
                                        <p:cTn id="25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6" presetID="2" presetClass="entr" presetSubtype="2" accel="4000" decel="94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8" presetClass="emph" presetSubtype="0" accel="36000" decel="64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Rot by="5400000">
                                      <p:cBhvr>
                                        <p:cTn id="31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2" presetID="2" presetClass="entr" presetSubtype="2" accel="4000" decel="94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8" presetClass="emph" presetSubtype="0" accel="36000" decel="64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Rot by="5400000">
                                      <p:cBhvr>
                                        <p:cTn id="37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8" presetID="2" presetClass="entr" presetSubtype="2" accel="4000" decel="94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8" presetClass="emph" presetSubtype="0" accel="36000" decel="64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5400000">
                                      <p:cBhvr>
                                        <p:cTn id="4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4" presetID="2" presetClass="entr" presetSubtype="2" accel="4000" decel="94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8" presetClass="emph" presetSubtype="0" accel="36000" decel="64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Rot by="5400000">
                                      <p:cBhvr>
                                        <p:cTn id="4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0" presetID="2" presetClass="entr" presetSubtype="2" accel="4000" decel="94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8" presetClass="emph" presetSubtype="0" accel="36000" decel="64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Rot by="5400000">
                                      <p:cBhvr>
                                        <p:cTn id="5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6" presetID="2" presetClass="entr" presetSubtype="2" accel="4000" decel="94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8" presetClass="emph" presetSubtype="0" accel="36000" decel="64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Rot by="5400000">
                                      <p:cBhvr>
                                        <p:cTn id="6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2" presetID="2" presetClass="entr" presetSubtype="2" accel="4000" decel="94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8" presetClass="emph" presetSubtype="0" accel="36000" decel="64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Rot by="5400000">
                                      <p:cBhvr>
                                        <p:cTn id="67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9310922" y="3034069"/>
            <a:ext cx="244211" cy="17006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8354612" y="1834696"/>
            <a:ext cx="741759" cy="28093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7849339" y="1651622"/>
            <a:ext cx="263345" cy="18436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7883567" y="2435273"/>
            <a:ext cx="131673" cy="149244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8322560" y="2692605"/>
            <a:ext cx="482800" cy="210697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9192160" y="3790198"/>
            <a:ext cx="232621" cy="25020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974352">
            <a:off x="8711771" y="1325760"/>
            <a:ext cx="625748" cy="460154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4774885" y="1747549"/>
            <a:ext cx="1022658" cy="1268571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5806746" y="4114548"/>
            <a:ext cx="258956" cy="276539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6389028" y="3128491"/>
            <a:ext cx="2238436" cy="1646069"/>
          </a:xfrm>
          <a:prstGeom prst="rect">
            <a:avLst/>
          </a:prstGeom>
        </p:spPr>
      </p:pic>
      <p:sp>
        <p:nvSpPr>
          <p:cNvPr id="15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60730" y="4124326"/>
            <a:ext cx="3957251" cy="2518172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6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681841" y="426810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1</a:t>
            </a:r>
          </a:p>
        </p:txBody>
      </p:sp>
      <p:sp>
        <p:nvSpPr>
          <p:cNvPr id="28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90866" y="466904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2</a:t>
            </a:r>
          </a:p>
        </p:txBody>
      </p:sp>
      <p:sp>
        <p:nvSpPr>
          <p:cNvPr id="29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690866" y="506998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3</a:t>
            </a:r>
          </a:p>
        </p:txBody>
      </p:sp>
      <p:sp>
        <p:nvSpPr>
          <p:cNvPr id="30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90866" y="5690146"/>
            <a:ext cx="3692928" cy="9523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buNone/>
              <a:defRPr sz="165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0469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accel="4000" decel="9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8" presetClass="emph" presetSubtype="0" accel="36000" decel="6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1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2" presetClass="entr" presetSubtype="2" accel="4000" decel="94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8" presetClass="emph" presetSubtype="0" accel="36000" decel="64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5400000">
                                      <p:cBhvr>
                                        <p:cTn id="1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2" presetClass="entr" presetSubtype="2" accel="4000" decel="94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8" presetClass="emph" presetSubtype="0" accel="36000" decel="64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5400000">
                                      <p:cBhvr>
                                        <p:cTn id="2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2" presetClass="entr" presetSubtype="2" accel="4000" decel="94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8" presetClass="emph" presetSubtype="0" accel="36000" decel="64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Rot by="5400000">
                                      <p:cBhvr>
                                        <p:cTn id="2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9" presetID="2" presetClass="entr" presetSubtype="2" accel="4000" decel="94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8" presetClass="emph" presetSubtype="0" accel="36000" decel="64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Rot by="5400000">
                                      <p:cBhvr>
                                        <p:cTn id="3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5" presetID="2" presetClass="entr" presetSubtype="2" accel="4000" decel="94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8" presetClass="emph" presetSubtype="0" accel="36000" decel="64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5400000">
                                      <p:cBhvr>
                                        <p:cTn id="4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1" presetID="2" presetClass="entr" presetSubtype="2" accel="4000" decel="94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8" presetClass="emph" presetSubtype="0" accel="36000" decel="64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Rot by="5400000">
                                      <p:cBhvr>
                                        <p:cTn id="46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7" presetID="2" presetClass="entr" presetSubtype="2" accel="4000" decel="94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8" presetClass="emph" presetSubtype="0" accel="36000" decel="64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Rot by="5400000">
                                      <p:cBhvr>
                                        <p:cTn id="5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3" presetID="2" presetClass="entr" presetSubtype="2" accel="4000" decel="94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8" presetClass="emph" presetSubtype="0" accel="36000" decel="64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Rot by="5400000">
                                      <p:cBhvr>
                                        <p:cTn id="5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9" presetID="2" presetClass="entr" presetSubtype="2" accel="4000" decel="94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8" presetClass="emph" presetSubtype="0" accel="36000" decel="64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Rot by="5400000">
                                      <p:cBhvr>
                                        <p:cTn id="6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7" dur="500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ntr" presetSubtype="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0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 animBg="1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1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sp>
        <p:nvSpPr>
          <p:cNvPr id="17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464" y="2995057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99" b="1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TITEL NAAM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95018">
            <a:off x="7832869" y="234233"/>
            <a:ext cx="6443537" cy="470050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95018">
            <a:off x="7838477" y="231530"/>
            <a:ext cx="6443537" cy="4700508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95018">
            <a:off x="7833020" y="234303"/>
            <a:ext cx="6443537" cy="4700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644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95018">
            <a:off x="7832869" y="234233"/>
            <a:ext cx="6443537" cy="470050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95018">
            <a:off x="7838477" y="231530"/>
            <a:ext cx="6443537" cy="4700508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95018">
            <a:off x="7833020" y="234303"/>
            <a:ext cx="6443537" cy="4700508"/>
          </a:xfrm>
          <a:prstGeom prst="rect">
            <a:avLst/>
          </a:prstGeom>
        </p:spPr>
      </p:pic>
      <p:sp>
        <p:nvSpPr>
          <p:cNvPr id="8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60730" y="4124326"/>
            <a:ext cx="3957251" cy="2518172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681841" y="426810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1</a:t>
            </a:r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90866" y="466904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2</a:t>
            </a:r>
          </a:p>
        </p:txBody>
      </p:sp>
      <p:sp>
        <p:nvSpPr>
          <p:cNvPr id="11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690866" y="506998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3</a:t>
            </a:r>
          </a:p>
        </p:txBody>
      </p:sp>
      <p:sp>
        <p:nvSpPr>
          <p:cNvPr id="12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90866" y="5690146"/>
            <a:ext cx="3692928" cy="9523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buNone/>
              <a:defRPr sz="165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7023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 animBg="1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1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sp>
        <p:nvSpPr>
          <p:cNvPr id="17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464" y="2995057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99" b="1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TITEL NAAM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790805" flipH="1">
            <a:off x="7022237" y="2099845"/>
            <a:ext cx="3787163" cy="381745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23040" flipH="1" flipV="1">
            <a:off x="9902425" y="-1072958"/>
            <a:ext cx="2295412" cy="5137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6949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3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790805" flipH="1">
            <a:off x="7022237" y="2099845"/>
            <a:ext cx="3787163" cy="381745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23040" flipH="1" flipV="1">
            <a:off x="9902425" y="-1072958"/>
            <a:ext cx="2295412" cy="5137606"/>
          </a:xfrm>
          <a:prstGeom prst="rect">
            <a:avLst/>
          </a:prstGeom>
        </p:spPr>
      </p:pic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60730" y="4124326"/>
            <a:ext cx="3957251" cy="2518172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681841" y="426810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1</a:t>
            </a:r>
          </a:p>
        </p:txBody>
      </p:sp>
      <p:sp>
        <p:nvSpPr>
          <p:cNvPr id="11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90866" y="466904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2</a:t>
            </a:r>
          </a:p>
        </p:txBody>
      </p:sp>
      <p:sp>
        <p:nvSpPr>
          <p:cNvPr id="12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690866" y="506998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3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90866" y="5690146"/>
            <a:ext cx="3692928" cy="9523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buNone/>
              <a:defRPr sz="165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178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3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 animBg="1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1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B00406-84A7-401E-A231-AB2748DF2E3B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2534036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sp>
        <p:nvSpPr>
          <p:cNvPr id="17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464" y="2995057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99" b="1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TITEL NAAM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156593">
            <a:off x="7270515" y="1577692"/>
            <a:ext cx="3751940" cy="393122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156593">
            <a:off x="7239351" y="1630527"/>
            <a:ext cx="3751940" cy="393122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624287">
            <a:off x="10499528" y="4312079"/>
            <a:ext cx="2178631" cy="950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173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156593">
            <a:off x="7270515" y="1577692"/>
            <a:ext cx="3751940" cy="393122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156593">
            <a:off x="7239351" y="1630527"/>
            <a:ext cx="3751940" cy="393122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624287">
            <a:off x="10499528" y="4312079"/>
            <a:ext cx="2178631" cy="950119"/>
          </a:xfrm>
          <a:prstGeom prst="rect">
            <a:avLst/>
          </a:prstGeom>
        </p:spPr>
      </p:pic>
      <p:sp>
        <p:nvSpPr>
          <p:cNvPr id="8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60730" y="4124326"/>
            <a:ext cx="3957251" cy="2518172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681841" y="426810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1</a:t>
            </a:r>
          </a:p>
        </p:txBody>
      </p:sp>
      <p:sp>
        <p:nvSpPr>
          <p:cNvPr id="12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90866" y="466904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2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690866" y="506998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3</a:t>
            </a:r>
          </a:p>
        </p:txBody>
      </p:sp>
      <p:sp>
        <p:nvSpPr>
          <p:cNvPr id="14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90866" y="5690146"/>
            <a:ext cx="3692928" cy="9523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buNone/>
              <a:defRPr sz="165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816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 animBg="1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1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sp>
        <p:nvSpPr>
          <p:cNvPr id="17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464" y="2995057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99" b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TITEL NAAM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393764" y="11512"/>
            <a:ext cx="5090908" cy="685733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389547" y="-8334"/>
            <a:ext cx="5090908" cy="6857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885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393764" y="11512"/>
            <a:ext cx="5090908" cy="685733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389547" y="-8334"/>
            <a:ext cx="5090908" cy="6857330"/>
          </a:xfrm>
          <a:prstGeom prst="rect">
            <a:avLst/>
          </a:prstGeom>
        </p:spPr>
      </p:pic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60730" y="4124326"/>
            <a:ext cx="3957251" cy="2518172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681841" y="426810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1</a:t>
            </a:r>
          </a:p>
        </p:txBody>
      </p:sp>
      <p:sp>
        <p:nvSpPr>
          <p:cNvPr id="11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90866" y="466904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2</a:t>
            </a:r>
          </a:p>
        </p:txBody>
      </p:sp>
      <p:sp>
        <p:nvSpPr>
          <p:cNvPr id="12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690866" y="506998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3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90866" y="5690146"/>
            <a:ext cx="3692928" cy="9523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buNone/>
              <a:defRPr sz="165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252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 animBg="1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1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sp>
        <p:nvSpPr>
          <p:cNvPr id="17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464" y="2995057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99" b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TITEL NAAM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9703695">
            <a:off x="8582243" y="3529185"/>
            <a:ext cx="1315367" cy="130351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407259">
            <a:off x="10124430" y="3030471"/>
            <a:ext cx="1070865" cy="106121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672066">
            <a:off x="6534388" y="1219821"/>
            <a:ext cx="2462975" cy="24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449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accel="4000" decel="9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8" presetClass="emph" presetSubtype="0" accel="36000" decel="6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4" presetID="2" presetClass="entr" presetSubtype="2" accel="4000" decel="94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8" presetClass="emph" presetSubtype="0" accel="36000" decel="64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5400000">
                                      <p:cBhvr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0" presetID="2" presetClass="entr" presetSubtype="2" accel="4000" decel="94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8" presetClass="emph" presetSubtype="0" accel="36000" decel="64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Rot by="5400000">
                                      <p:cBhvr>
                                        <p:cTn id="2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AA9D2689-F75B-4671-9C00-8B69E030B31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C64485-5DC8-456A-B8E3-42D039E4EAFD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/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29D88BB8-CE53-491C-9B2E-2409CEEC8A3F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089384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ack #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iversumZwart slow loop">
            <a:hlinkClick r:id="" action="ppaction://media"/>
            <a:extLst>
              <a:ext uri="{FF2B5EF4-FFF2-40B4-BE49-F238E27FC236}">
                <a16:creationId xmlns:a16="http://schemas.microsoft.com/office/drawing/2014/main" id="{A5B4BBAE-2630-47FC-B95C-5BE3F173186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75338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CE5D1D-CAB2-48C3-9EB9-C0CD84380E13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67B42C4-430F-4C9B-A8A9-98F854EBC82D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53159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6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59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image" Target="../media/image25.png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8DE8C7EB-F637-483E-82A0-80F42BE0622F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971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847" r:id="rId3"/>
    <p:sldLayoutId id="2147483849" r:id="rId4"/>
    <p:sldLayoutId id="2147483666" r:id="rId5"/>
    <p:sldLayoutId id="2147483848" r:id="rId6"/>
    <p:sldLayoutId id="2147483850" r:id="rId7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1848740C-BE79-4211-B3FB-C6D41B344206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152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FAB46B2B-F311-46D2-A02F-C1F9B674963A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06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52" r:id="rId2"/>
    <p:sldLayoutId id="2147483851" r:id="rId3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B2DF9AB-47DC-47FB-81EB-26B2E3CC942F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06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72" r:id="rId2"/>
    <p:sldLayoutId id="2147483874" r:id="rId3"/>
    <p:sldLayoutId id="2147483858" r:id="rId4"/>
    <p:sldLayoutId id="2147483873" r:id="rId5"/>
    <p:sldLayoutId id="2147483875" r:id="rId6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7B882743-98CD-4856-89C9-AC2912928248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969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7" r:id="rId2"/>
    <p:sldLayoutId id="2147483900" r:id="rId3"/>
    <p:sldLayoutId id="2147483964" r:id="rId4"/>
    <p:sldLayoutId id="2147483965" r:id="rId5"/>
    <p:sldLayoutId id="2147483966" r:id="rId6"/>
    <p:sldLayoutId id="2147483883" r:id="rId7"/>
    <p:sldLayoutId id="2147483896" r:id="rId8"/>
    <p:sldLayoutId id="2147483899" r:id="rId9"/>
    <p:sldLayoutId id="2147483967" r:id="rId10"/>
    <p:sldLayoutId id="2147483993" r:id="rId11"/>
    <p:sldLayoutId id="2147483994" r:id="rId12"/>
    <p:sldLayoutId id="2147483995" r:id="rId13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4FD5DA4F-98AE-4D03-BCCE-A8EE634EA2E9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93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19" r:id="rId2"/>
    <p:sldLayoutId id="2147483925" r:id="rId3"/>
    <p:sldLayoutId id="2147483910" r:id="rId4"/>
    <p:sldLayoutId id="2147483920" r:id="rId5"/>
    <p:sldLayoutId id="2147483927" r:id="rId6"/>
    <p:sldLayoutId id="2147483909" r:id="rId7"/>
    <p:sldLayoutId id="2147483921" r:id="rId8"/>
    <p:sldLayoutId id="2147483926" r:id="rId9"/>
    <p:sldLayoutId id="2147483911" r:id="rId10"/>
    <p:sldLayoutId id="2147483912" r:id="rId11"/>
    <p:sldLayoutId id="2147483913" r:id="rId12"/>
    <p:sldLayoutId id="2147483914" r:id="rId13"/>
    <p:sldLayoutId id="2147483922" r:id="rId14"/>
    <p:sldLayoutId id="2147483915" r:id="rId15"/>
    <p:sldLayoutId id="2147483923" r:id="rId16"/>
    <p:sldLayoutId id="2147483950" r:id="rId17"/>
    <p:sldLayoutId id="2147483951" r:id="rId18"/>
    <p:sldLayoutId id="2147483916" r:id="rId19"/>
    <p:sldLayoutId id="2147483924" r:id="rId20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60304D78-2BBA-46A1-9CAD-3C7FBC7BD5EA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70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9" r:id="rId3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B0EA3AE9-E423-4DF5-B7A9-0E5A118881E8}" type="datetime1">
              <a:rPr lang="en-US" smtClean="0"/>
              <a:t>11/6/2023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41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821" r:id="rId2"/>
    <p:sldLayoutId id="2147483958" r:id="rId3"/>
    <p:sldLayoutId id="2147483763" r:id="rId4"/>
    <p:sldLayoutId id="2147483816" r:id="rId5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09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3984" r:id="rId6"/>
    <p:sldLayoutId id="2147483985" r:id="rId7"/>
    <p:sldLayoutId id="2147483986" r:id="rId8"/>
    <p:sldLayoutId id="2147483987" r:id="rId9"/>
    <p:sldLayoutId id="2147483988" r:id="rId10"/>
    <p:sldLayoutId id="2147483989" r:id="rId11"/>
    <p:sldLayoutId id="2147483990" r:id="rId12"/>
    <p:sldLayoutId id="2147483991" r:id="rId13"/>
  </p:sldLayoutIdLst>
  <p:hf hdr="0" ftr="0" dt="0"/>
  <p:txStyles>
    <p:titleStyle>
      <a:lvl1pPr algn="l" defTabSz="91425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64" indent="-228564" algn="l" defTabSz="91425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691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19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47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74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02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30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57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84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8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6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83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10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38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66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93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21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1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1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6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1.xml"/><Relationship Id="rId5" Type="http://schemas.openxmlformats.org/officeDocument/2006/relationships/image" Target="../media/image64.png"/><Relationship Id="rId4" Type="http://schemas.openxmlformats.org/officeDocument/2006/relationships/image" Target="../media/image6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6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9132D6A-EB76-65EC-89C4-DC4735D305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5999" y="2088000"/>
            <a:ext cx="7300892" cy="1351732"/>
          </a:xfrm>
        </p:spPr>
        <p:txBody>
          <a:bodyPr/>
          <a:lstStyle/>
          <a:p>
            <a:r>
              <a:rPr lang="en-US" sz="4800" dirty="0"/>
              <a:t>IPCV PROJECT</a:t>
            </a:r>
            <a:br>
              <a:rPr lang="en-US" sz="4800" dirty="0"/>
            </a:br>
            <a:r>
              <a:rPr lang="en-US" sz="4800" dirty="0"/>
              <a:t>3D FACE reconstruction</a:t>
            </a:r>
          </a:p>
        </p:txBody>
      </p:sp>
      <p:sp>
        <p:nvSpPr>
          <p:cNvPr id="5" name="Ondertitel 4">
            <a:extLst>
              <a:ext uri="{FF2B5EF4-FFF2-40B4-BE49-F238E27FC236}">
                <a16:creationId xmlns:a16="http://schemas.microsoft.com/office/drawing/2014/main" id="{B060BC31-B91D-B3C2-4710-FFE35603C53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spcAft>
                <a:spcPts val="600"/>
              </a:spcAft>
            </a:pPr>
            <a:endParaRPr lang="en-IE" dirty="0"/>
          </a:p>
          <a:p>
            <a:pPr>
              <a:spcAft>
                <a:spcPts val="600"/>
              </a:spcAft>
            </a:pPr>
            <a:r>
              <a:rPr lang="en-IE" dirty="0"/>
              <a:t>TONGLI ZHU</a:t>
            </a:r>
          </a:p>
          <a:p>
            <a:pPr>
              <a:spcAft>
                <a:spcPts val="600"/>
              </a:spcAft>
            </a:pPr>
            <a:r>
              <a:rPr lang="en-IE" dirty="0"/>
              <a:t>QINGYI XU</a:t>
            </a:r>
          </a:p>
          <a:p>
            <a:pPr>
              <a:spcAft>
                <a:spcPts val="600"/>
              </a:spcAft>
            </a:pPr>
            <a:r>
              <a:rPr lang="en-IE" dirty="0" err="1"/>
              <a:t>Oceane</a:t>
            </a:r>
            <a:r>
              <a:rPr lang="en-IE" dirty="0"/>
              <a:t> </a:t>
            </a:r>
            <a:r>
              <a:rPr lang="en-IE" dirty="0" err="1"/>
              <a:t>thai</a:t>
            </a:r>
            <a:endParaRPr lang="en-IE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F43F657-22C1-F8A7-7BDD-7A6E91FA4DF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AC4ADE6-AC95-1C5B-91D8-D67C81860D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1464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699303-023D-6F48-C721-6695CFD44F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50C4358-702F-C79C-FFDB-829520A1B9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465BD4-47E9-AD97-F9F6-AEF0198245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1" y="755999"/>
            <a:ext cx="11052000" cy="692958"/>
          </a:xfrm>
        </p:spPr>
        <p:txBody>
          <a:bodyPr/>
          <a:lstStyle/>
          <a:p>
            <a:r>
              <a:rPr lang="en-US" dirty="0"/>
              <a:t>Other discussion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A07B0201-4015-3A27-36BE-D07F004B15C7}"/>
              </a:ext>
            </a:extLst>
          </p:cNvPr>
          <p:cNvSpPr txBox="1">
            <a:spLocks/>
          </p:cNvSpPr>
          <p:nvPr/>
        </p:nvSpPr>
        <p:spPr>
          <a:xfrm>
            <a:off x="1273720" y="1628868"/>
            <a:ext cx="11431082" cy="11353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39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/>
              <a:t>Mesh</a:t>
            </a:r>
            <a:r>
              <a:rPr lang="en-US" altLang="zh-CN" sz="2400" dirty="0"/>
              <a:t>(Poisson reconstruction)                                   generality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513DADDF-6383-3A42-070A-6262F551C89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5" t="8118" r="19530" b="16292"/>
          <a:stretch/>
        </p:blipFill>
        <p:spPr>
          <a:xfrm>
            <a:off x="3432035" y="2196518"/>
            <a:ext cx="3762349" cy="3698243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71E200D8-6652-9542-9F93-4B063E6EA99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524" r="2178" b="-1"/>
          <a:stretch/>
        </p:blipFill>
        <p:spPr>
          <a:xfrm>
            <a:off x="7603349" y="2468726"/>
            <a:ext cx="4423144" cy="3428057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7E240C9C-941A-D84E-8215-F6D47842ED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2466704"/>
            <a:ext cx="4084861" cy="342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3895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50C4358-702F-C79C-FFDB-829520A1B9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465BD4-47E9-AD97-F9F6-AEF0198245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3071" y="412563"/>
            <a:ext cx="11052000" cy="972000"/>
          </a:xfrm>
        </p:spPr>
        <p:txBody>
          <a:bodyPr/>
          <a:lstStyle/>
          <a:p>
            <a:r>
              <a:rPr lang="en-IE" altLang="ja-JP" dirty="0">
                <a:ea typeface="+mj-lt"/>
                <a:cs typeface="+mj-lt"/>
              </a:rPr>
              <a:t>Steps overview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699303-023D-6F48-C721-6695CFD44F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42511CBD-4B1D-1627-8EFF-1E8B9D4E9F58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/>
          <a:srcRect l="-593" t="-621" r="-791" b="932"/>
          <a:stretch/>
        </p:blipFill>
        <p:spPr>
          <a:xfrm>
            <a:off x="562820" y="981462"/>
            <a:ext cx="9789834" cy="5752744"/>
          </a:xfrm>
        </p:spPr>
      </p:pic>
    </p:spTree>
    <p:extLst>
      <p:ext uri="{BB962C8B-B14F-4D97-AF65-F5344CB8AC3E}">
        <p14:creationId xmlns:p14="http://schemas.microsoft.com/office/powerpoint/2010/main" val="11883472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699303-023D-6F48-C721-6695CFD44F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50C4358-702F-C79C-FFDB-829520A1B9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C2E48C4C-989D-6FDC-5F2C-99A5DD7D5C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2545" y="1542729"/>
            <a:ext cx="3551999" cy="572196"/>
          </a:xfrm>
        </p:spPr>
        <p:txBody>
          <a:bodyPr vert="horz" lIns="0" tIns="0" rIns="0" bIns="0" rtlCol="0" anchor="t">
            <a:no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Compensating nonlinear lens distor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465BD4-47E9-AD97-F9F6-AEF0198245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1" y="755999"/>
            <a:ext cx="11052000" cy="692958"/>
          </a:xfrm>
        </p:spPr>
        <p:txBody>
          <a:bodyPr/>
          <a:lstStyle/>
          <a:p>
            <a:r>
              <a:rPr lang="en-IE" dirty="0"/>
              <a:t>Part1 Preprocessing</a:t>
            </a:r>
            <a:endParaRPr lang="en-US" dirty="0" err="1"/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4164ACA8-2F82-391B-58A5-79B72EA3E8FE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58" r="11458"/>
          <a:stretch/>
        </p:blipFill>
        <p:spPr>
          <a:xfrm>
            <a:off x="4555160" y="3083765"/>
            <a:ext cx="3551999" cy="3456000"/>
          </a:xfrm>
        </p:spPr>
      </p:pic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F2CFF12C-7982-8689-4B33-C445630A9208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4"/>
          <a:srcRect l="11466" r="11466"/>
          <a:stretch/>
        </p:blipFill>
        <p:spPr>
          <a:xfrm>
            <a:off x="8260431" y="3083765"/>
            <a:ext cx="3551999" cy="3456000"/>
          </a:xfrm>
        </p:spPr>
      </p:pic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F897DE23-360F-F43F-5CB5-48FAA22C5FE8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5"/>
          <a:srcRect l="11464" r="11464"/>
          <a:stretch/>
        </p:blipFill>
        <p:spPr>
          <a:xfrm>
            <a:off x="824825" y="3083765"/>
            <a:ext cx="3551999" cy="3456000"/>
          </a:xfrm>
        </p:spPr>
      </p:pic>
      <p:sp>
        <p:nvSpPr>
          <p:cNvPr id="6" name="Subtitle 6">
            <a:extLst>
              <a:ext uri="{FF2B5EF4-FFF2-40B4-BE49-F238E27FC236}">
                <a16:creationId xmlns:a16="http://schemas.microsoft.com/office/drawing/2014/main" id="{90167944-A946-96A6-904A-E209115195CD}"/>
              </a:ext>
            </a:extLst>
          </p:cNvPr>
          <p:cNvSpPr txBox="1">
            <a:spLocks/>
          </p:cNvSpPr>
          <p:nvPr/>
        </p:nvSpPr>
        <p:spPr>
          <a:xfrm>
            <a:off x="8255999" y="1576152"/>
            <a:ext cx="3551999" cy="57219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indent="0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None/>
              <a:defRPr sz="2200" b="1" cap="all" baseline="0">
                <a:solidFill>
                  <a:schemeClr val="bg1"/>
                </a:solidFill>
              </a:defRPr>
            </a:lvl1pPr>
            <a:lvl2pPr indent="0" algn="ctr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2pPr>
            <a:lvl3pPr indent="0" algn="ctr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lvl3pPr>
            <a:lvl4pPr indent="0" algn="ctr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/>
            </a:lvl4pPr>
            <a:lvl5pPr indent="0" algn="ctr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/>
            </a:lvl5pPr>
            <a:lvl6pPr indent="0" algn="ctr">
              <a:lnSpc>
                <a:spcPts val="2000"/>
              </a:lnSpc>
              <a:spcBef>
                <a:spcPts val="0"/>
              </a:spcBef>
              <a:buFont typeface="+mj-lt"/>
              <a:buNone/>
              <a:defRPr sz="1600"/>
            </a:lvl6pPr>
            <a:lvl7pPr indent="0" algn="ctr">
              <a:lnSpc>
                <a:spcPts val="2500"/>
              </a:lnSpc>
              <a:spcBef>
                <a:spcPts val="0"/>
              </a:spcBef>
              <a:buFontTx/>
              <a:buNone/>
              <a:defRPr sz="1600" b="1" cap="all" baseline="0"/>
            </a:lvl7pPr>
            <a:lvl8pPr indent="0" algn="ctr">
              <a:lnSpc>
                <a:spcPts val="2000"/>
              </a:lnSpc>
              <a:spcBef>
                <a:spcPts val="0"/>
              </a:spcBef>
              <a:buFontTx/>
              <a:buNone/>
              <a:defRPr sz="1600" baseline="0"/>
            </a:lvl8pPr>
            <a:lvl9pPr indent="0" algn="ctr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/>
            </a:lvl9pPr>
          </a:lstStyle>
          <a:p>
            <a:pPr algn="ctr"/>
            <a:r>
              <a:rPr lang="en-US" dirty="0"/>
              <a:t>removing the background</a:t>
            </a:r>
          </a:p>
          <a:p>
            <a:pPr algn="ctr"/>
            <a:r>
              <a:rPr lang="en-US" sz="1800" dirty="0"/>
              <a:t>Canny &amp;morphology</a:t>
            </a:r>
          </a:p>
        </p:txBody>
      </p:sp>
      <p:sp>
        <p:nvSpPr>
          <p:cNvPr id="8" name="Subtitle 6">
            <a:extLst>
              <a:ext uri="{FF2B5EF4-FFF2-40B4-BE49-F238E27FC236}">
                <a16:creationId xmlns:a16="http://schemas.microsoft.com/office/drawing/2014/main" id="{29A7DFCF-2D08-D09C-754C-4709DF9222AB}"/>
              </a:ext>
            </a:extLst>
          </p:cNvPr>
          <p:cNvSpPr txBox="1">
            <a:spLocks/>
          </p:cNvSpPr>
          <p:nvPr/>
        </p:nvSpPr>
        <p:spPr>
          <a:xfrm>
            <a:off x="4506000" y="1542729"/>
            <a:ext cx="3551999" cy="57219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None/>
              <a:defRPr sz="2200" b="1" kern="1200" cap="all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16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Subtitle 6">
            <a:extLst>
              <a:ext uri="{FF2B5EF4-FFF2-40B4-BE49-F238E27FC236}">
                <a16:creationId xmlns:a16="http://schemas.microsoft.com/office/drawing/2014/main" id="{62EA756B-8BF5-51C8-54AA-DAAD3F0D7E76}"/>
              </a:ext>
            </a:extLst>
          </p:cNvPr>
          <p:cNvSpPr txBox="1">
            <a:spLocks/>
          </p:cNvSpPr>
          <p:nvPr/>
        </p:nvSpPr>
        <p:spPr>
          <a:xfrm>
            <a:off x="5253251" y="1561456"/>
            <a:ext cx="3551999" cy="57219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None/>
              <a:defRPr sz="2200" b="1" kern="1200" cap="all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16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normalization</a:t>
            </a: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1D7F65F8-81CA-BFA0-D35F-311D2D34859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77375" y="1896230"/>
            <a:ext cx="2985521" cy="1043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5295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699303-023D-6F48-C721-6695CFD44F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50C4358-702F-C79C-FFDB-829520A1B9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C2E48C4C-989D-6FDC-5F2C-99A5DD7D5C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17885" y="1957365"/>
            <a:ext cx="2831692" cy="29197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Rectific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465BD4-47E9-AD97-F9F6-AEF0198245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1" y="755999"/>
            <a:ext cx="11052000" cy="692958"/>
          </a:xfrm>
        </p:spPr>
        <p:txBody>
          <a:bodyPr/>
          <a:lstStyle/>
          <a:p>
            <a:r>
              <a:rPr lang="en-IE" dirty="0"/>
              <a:t>Part2 Single MESH generation</a:t>
            </a:r>
            <a:endParaRPr lang="en-US" dirty="0" err="1"/>
          </a:p>
        </p:txBody>
      </p:sp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F897DE23-360F-F43F-5CB5-48FAA22C5FE8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52" r="55217"/>
          <a:stretch/>
        </p:blipFill>
        <p:spPr>
          <a:xfrm>
            <a:off x="209705" y="2652427"/>
            <a:ext cx="2691254" cy="2875756"/>
          </a:xfrm>
        </p:spPr>
      </p:pic>
      <p:pic>
        <p:nvPicPr>
          <p:cNvPr id="14" name="Picture Placeholder 14">
            <a:extLst>
              <a:ext uri="{FF2B5EF4-FFF2-40B4-BE49-F238E27FC236}">
                <a16:creationId xmlns:a16="http://schemas.microsoft.com/office/drawing/2014/main" id="{142D04AE-EBC8-03B6-4339-7D9E746AEA6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088" r="9577"/>
          <a:stretch/>
        </p:blipFill>
        <p:spPr>
          <a:xfrm>
            <a:off x="2900959" y="2659801"/>
            <a:ext cx="2831691" cy="2875756"/>
          </a:xfrm>
          <a:prstGeom prst="rect">
            <a:avLst/>
          </a:prstGeom>
          <a:noFill/>
        </p:spPr>
      </p:pic>
      <p:sp>
        <p:nvSpPr>
          <p:cNvPr id="16" name="Subtitle 6">
            <a:extLst>
              <a:ext uri="{FF2B5EF4-FFF2-40B4-BE49-F238E27FC236}">
                <a16:creationId xmlns:a16="http://schemas.microsoft.com/office/drawing/2014/main" id="{9952EC3E-6D14-EC56-C59D-5297AFFF542A}"/>
              </a:ext>
            </a:extLst>
          </p:cNvPr>
          <p:cNvSpPr txBox="1">
            <a:spLocks/>
          </p:cNvSpPr>
          <p:nvPr/>
        </p:nvSpPr>
        <p:spPr>
          <a:xfrm>
            <a:off x="6767886" y="1949991"/>
            <a:ext cx="5040115" cy="5934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None/>
              <a:defRPr sz="2200" b="1" kern="1200" cap="all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16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Disparity estimation and optimization</a:t>
            </a:r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5673C117-B510-6B9A-3CB3-05145F9D536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726" t="4361" r="18548" b="7924"/>
          <a:stretch/>
        </p:blipFill>
        <p:spPr>
          <a:xfrm>
            <a:off x="6307161" y="2453204"/>
            <a:ext cx="3455851" cy="3593631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DA71C681-7455-3FE4-56C4-FB8D0CEDBEA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7543" t="8727" r="7863" b="11649"/>
          <a:stretch/>
        </p:blipFill>
        <p:spPr>
          <a:xfrm>
            <a:off x="8622497" y="2453204"/>
            <a:ext cx="3359798" cy="3593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061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699303-023D-6F48-C721-6695CFD44F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50C4358-702F-C79C-FFDB-829520A1B9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C2E48C4C-989D-6FDC-5F2C-99A5DD7D5C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17885" y="1957365"/>
            <a:ext cx="2831692" cy="29197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o</a:t>
            </a:r>
            <a:r>
              <a:rPr lang="en-US" altLang="zh-CN" dirty="0">
                <a:solidFill>
                  <a:schemeClr val="bg1"/>
                </a:solidFill>
              </a:rPr>
              <a:t>int cloud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465BD4-47E9-AD97-F9F6-AEF0198245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1" y="755999"/>
            <a:ext cx="11052000" cy="692958"/>
          </a:xfrm>
        </p:spPr>
        <p:txBody>
          <a:bodyPr/>
          <a:lstStyle/>
          <a:p>
            <a:r>
              <a:rPr lang="en-IE" dirty="0"/>
              <a:t>Part2 Single POINT could/m</a:t>
            </a:r>
            <a:r>
              <a:rPr lang="en-US" altLang="zh-CN" dirty="0"/>
              <a:t>e</a:t>
            </a:r>
            <a:r>
              <a:rPr lang="en-IE" dirty="0"/>
              <a:t>s</a:t>
            </a:r>
            <a:r>
              <a:rPr lang="en-US" altLang="zh-CN" dirty="0"/>
              <a:t>h</a:t>
            </a:r>
            <a:r>
              <a:rPr lang="en-IE" dirty="0"/>
              <a:t> generation</a:t>
            </a:r>
            <a:endParaRPr lang="en-US" dirty="0" err="1"/>
          </a:p>
        </p:txBody>
      </p:sp>
      <p:sp>
        <p:nvSpPr>
          <p:cNvPr id="16" name="Subtitle 6">
            <a:extLst>
              <a:ext uri="{FF2B5EF4-FFF2-40B4-BE49-F238E27FC236}">
                <a16:creationId xmlns:a16="http://schemas.microsoft.com/office/drawing/2014/main" id="{9952EC3E-6D14-EC56-C59D-5297AFFF542A}"/>
              </a:ext>
            </a:extLst>
          </p:cNvPr>
          <p:cNvSpPr txBox="1">
            <a:spLocks/>
          </p:cNvSpPr>
          <p:nvPr/>
        </p:nvSpPr>
        <p:spPr>
          <a:xfrm>
            <a:off x="6814284" y="1925209"/>
            <a:ext cx="4993717" cy="5934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None/>
              <a:defRPr sz="2200" b="1" kern="1200" cap="all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16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MESH</a:t>
            </a:r>
          </a:p>
          <a:p>
            <a:pPr algn="ctr"/>
            <a:r>
              <a:rPr lang="en-US" sz="1800" dirty="0">
                <a:solidFill>
                  <a:schemeClr val="bg1"/>
                </a:solidFill>
              </a:rPr>
              <a:t>Delaunay Triangulation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2A6AD994-EEDD-686C-28B4-D0C128FD82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96" y="2249345"/>
            <a:ext cx="5659043" cy="3372066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8FBD1BEE-57CE-ED47-79CF-6348CB005B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5098" y="2546083"/>
            <a:ext cx="2954774" cy="3100689"/>
          </a:xfrm>
          <a:prstGeom prst="rect">
            <a:avLst/>
          </a:prstGeom>
        </p:spPr>
      </p:pic>
      <p:pic>
        <p:nvPicPr>
          <p:cNvPr id="21" name="图片 20">
            <a:extLst>
              <a:ext uri="{FF2B5EF4-FFF2-40B4-BE49-F238E27FC236}">
                <a16:creationId xmlns:a16="http://schemas.microsoft.com/office/drawing/2014/main" id="{87FFB0B2-0DE3-1246-A734-AA68765DD6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49621" y="2518687"/>
            <a:ext cx="3159383" cy="3128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5982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699303-023D-6F48-C721-6695CFD44F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50C4358-702F-C79C-FFDB-829520A1B9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C2E48C4C-989D-6FDC-5F2C-99A5DD7D5C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17885" y="1957365"/>
            <a:ext cx="2831692" cy="29197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o</a:t>
            </a:r>
            <a:r>
              <a:rPr lang="en-US" altLang="zh-CN" dirty="0">
                <a:solidFill>
                  <a:schemeClr val="bg1"/>
                </a:solidFill>
              </a:rPr>
              <a:t>int cloud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465BD4-47E9-AD97-F9F6-AEF0198245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1" y="755999"/>
            <a:ext cx="11052000" cy="692958"/>
          </a:xfrm>
        </p:spPr>
        <p:txBody>
          <a:bodyPr/>
          <a:lstStyle/>
          <a:p>
            <a:r>
              <a:rPr lang="en-IE" dirty="0"/>
              <a:t>Part3 MERGING(ICP)</a:t>
            </a:r>
            <a:endParaRPr lang="en-US" dirty="0" err="1"/>
          </a:p>
        </p:txBody>
      </p:sp>
      <p:sp>
        <p:nvSpPr>
          <p:cNvPr id="16" name="Subtitle 6">
            <a:extLst>
              <a:ext uri="{FF2B5EF4-FFF2-40B4-BE49-F238E27FC236}">
                <a16:creationId xmlns:a16="http://schemas.microsoft.com/office/drawing/2014/main" id="{9952EC3E-6D14-EC56-C59D-5297AFFF542A}"/>
              </a:ext>
            </a:extLst>
          </p:cNvPr>
          <p:cNvSpPr txBox="1">
            <a:spLocks/>
          </p:cNvSpPr>
          <p:nvPr/>
        </p:nvSpPr>
        <p:spPr>
          <a:xfrm>
            <a:off x="8218800" y="1952605"/>
            <a:ext cx="3159383" cy="5934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None/>
              <a:defRPr sz="2200" b="1" kern="1200" cap="all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16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MESH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EACDC878-E477-E889-E04E-C9B2F6D3E6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924" y="2619254"/>
            <a:ext cx="4312367" cy="3682717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3F761409-9D76-CE9D-4A15-F40B84107B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35590" y="2349387"/>
            <a:ext cx="5003486" cy="3752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1809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699303-023D-6F48-C721-6695CFD44F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50C4358-702F-C79C-FFDB-829520A1B9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465BD4-47E9-AD97-F9F6-AEF0198245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1" y="755999"/>
            <a:ext cx="11052000" cy="692958"/>
          </a:xfrm>
        </p:spPr>
        <p:txBody>
          <a:bodyPr/>
          <a:lstStyle/>
          <a:p>
            <a:r>
              <a:rPr lang="en-US" altLang="zh-CN" dirty="0"/>
              <a:t>Evaluation and discussion</a:t>
            </a:r>
            <a:endParaRPr lang="en-US" dirty="0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F84F71D7-5319-6BF8-474C-756FB0BEC805}"/>
              </a:ext>
            </a:extLst>
          </p:cNvPr>
          <p:cNvSpPr txBox="1">
            <a:spLocks/>
          </p:cNvSpPr>
          <p:nvPr/>
        </p:nvSpPr>
        <p:spPr>
          <a:xfrm>
            <a:off x="839576" y="1606490"/>
            <a:ext cx="11052000" cy="6929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39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criteria</a:t>
            </a:r>
            <a:endParaRPr lang="en-US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95CB63C6-8F13-34B4-C4D1-2BC979012A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5397" y="2299448"/>
            <a:ext cx="6353175" cy="971550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DED8DA76-B2D1-CFF8-A66E-34D86348A17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897" t="21291" r="10797"/>
          <a:stretch/>
        </p:blipFill>
        <p:spPr>
          <a:xfrm>
            <a:off x="8440992" y="3687097"/>
            <a:ext cx="3146322" cy="2414904"/>
          </a:xfrm>
          <a:prstGeom prst="rect">
            <a:avLst/>
          </a:prstGeom>
        </p:spPr>
      </p:pic>
      <p:graphicFrame>
        <p:nvGraphicFramePr>
          <p:cNvPr id="15" name="表格 14">
            <a:extLst>
              <a:ext uri="{FF2B5EF4-FFF2-40B4-BE49-F238E27FC236}">
                <a16:creationId xmlns:a16="http://schemas.microsoft.com/office/drawing/2014/main" id="{9D1E055F-C75F-31B5-92F6-D9592F2D27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7109115"/>
              </p:ext>
            </p:extLst>
          </p:nvPr>
        </p:nvGraphicFramePr>
        <p:xfrm>
          <a:off x="1175397" y="3834224"/>
          <a:ext cx="6353175" cy="165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8780">
                  <a:extLst>
                    <a:ext uri="{9D8B030D-6E8A-4147-A177-3AD203B41FA5}">
                      <a16:colId xmlns:a16="http://schemas.microsoft.com/office/drawing/2014/main" val="1003515400"/>
                    </a:ext>
                  </a:extLst>
                </a:gridCol>
                <a:gridCol w="2127784">
                  <a:extLst>
                    <a:ext uri="{9D8B030D-6E8A-4147-A177-3AD203B41FA5}">
                      <a16:colId xmlns:a16="http://schemas.microsoft.com/office/drawing/2014/main" val="2628768239"/>
                    </a:ext>
                  </a:extLst>
                </a:gridCol>
                <a:gridCol w="2656611">
                  <a:extLst>
                    <a:ext uri="{9D8B030D-6E8A-4147-A177-3AD203B41FA5}">
                      <a16:colId xmlns:a16="http://schemas.microsoft.com/office/drawing/2014/main" val="1549495893"/>
                    </a:ext>
                  </a:extLst>
                </a:gridCol>
              </a:tblGrid>
              <a:tr h="475746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No constraints on side lengths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Side lengths &lt; 2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41943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/>
                        <a:t>Reliability</a:t>
                      </a:r>
                    </a:p>
                    <a:p>
                      <a:r>
                        <a:rPr lang="en-US" altLang="zh-CN" dirty="0"/>
                        <a:t>(set value = 30°)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3.79%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9%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03114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/>
                        <a:t>Appearance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Too much edges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Holes on the face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7688492"/>
                  </a:ext>
                </a:extLst>
              </a:tr>
            </a:tbl>
          </a:graphicData>
        </a:graphic>
      </p:graphicFrame>
      <p:pic>
        <p:nvPicPr>
          <p:cNvPr id="17" name="图片 16">
            <a:extLst>
              <a:ext uri="{FF2B5EF4-FFF2-40B4-BE49-F238E27FC236}">
                <a16:creationId xmlns:a16="http://schemas.microsoft.com/office/drawing/2014/main" id="{81F66866-6B5F-7673-4D18-D3D087CF69F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384" t="14837" r="6174" b="2045"/>
          <a:stretch/>
        </p:blipFill>
        <p:spPr>
          <a:xfrm>
            <a:off x="8440992" y="1389951"/>
            <a:ext cx="3146323" cy="2223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0751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699303-023D-6F48-C721-6695CFD44F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50C4358-702F-C79C-FFDB-829520A1B9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465BD4-47E9-AD97-F9F6-AEF0198245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1" y="755999"/>
            <a:ext cx="11052000" cy="692958"/>
          </a:xfrm>
        </p:spPr>
        <p:txBody>
          <a:bodyPr/>
          <a:lstStyle/>
          <a:p>
            <a:r>
              <a:rPr lang="en-US" altLang="zh-CN" dirty="0"/>
              <a:t>Evaluation and discussion</a:t>
            </a:r>
            <a:endParaRPr lang="en-US" dirty="0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F84F71D7-5319-6BF8-474C-756FB0BEC805}"/>
              </a:ext>
            </a:extLst>
          </p:cNvPr>
          <p:cNvSpPr txBox="1">
            <a:spLocks/>
          </p:cNvSpPr>
          <p:nvPr/>
        </p:nvSpPr>
        <p:spPr>
          <a:xfrm>
            <a:off x="839576" y="1606490"/>
            <a:ext cx="11052000" cy="6929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39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Improved background removal algorithm </a:t>
            </a:r>
            <a:endParaRPr lang="en-US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5C831A7A-E7B7-2834-7687-05D42F9395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456981"/>
            <a:ext cx="4301120" cy="3225840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06A7252B-29E1-289F-60C5-DB460704B5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8132" y="2456981"/>
            <a:ext cx="4199186" cy="3225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3888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699303-023D-6F48-C721-6695CFD44F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50C4358-702F-C79C-FFDB-829520A1B9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465BD4-47E9-AD97-F9F6-AEF0198245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1" y="755999"/>
            <a:ext cx="11052000" cy="692958"/>
          </a:xfrm>
        </p:spPr>
        <p:txBody>
          <a:bodyPr/>
          <a:lstStyle/>
          <a:p>
            <a:r>
              <a:rPr lang="en-US" altLang="zh-CN" dirty="0"/>
              <a:t>Conclusion</a:t>
            </a:r>
            <a:endParaRPr lang="en-US" dirty="0"/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7274B796-60BA-6134-BBEA-E38536F5DD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5357011"/>
              </p:ext>
            </p:extLst>
          </p:nvPr>
        </p:nvGraphicFramePr>
        <p:xfrm>
          <a:off x="1018132" y="1657970"/>
          <a:ext cx="10504130" cy="40054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1213">
                  <a:extLst>
                    <a:ext uri="{9D8B030D-6E8A-4147-A177-3AD203B41FA5}">
                      <a16:colId xmlns:a16="http://schemas.microsoft.com/office/drawing/2014/main" val="2932063685"/>
                    </a:ext>
                  </a:extLst>
                </a:gridCol>
                <a:gridCol w="6862917">
                  <a:extLst>
                    <a:ext uri="{9D8B030D-6E8A-4147-A177-3AD203B41FA5}">
                      <a16:colId xmlns:a16="http://schemas.microsoft.com/office/drawing/2014/main" val="1946523064"/>
                    </a:ext>
                  </a:extLst>
                </a:gridCol>
              </a:tblGrid>
              <a:tr h="589987">
                <a:tc>
                  <a:txBody>
                    <a:bodyPr/>
                    <a:lstStyle/>
                    <a:p>
                      <a:r>
                        <a:rPr lang="en-US" altLang="zh-CN" sz="2400" dirty="0"/>
                        <a:t>KEY POINT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/>
                        <a:t>SELF-EVLUATION/SUGGESTIONS</a:t>
                      </a:r>
                      <a:endParaRPr lang="zh-CN" alt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3282023"/>
                  </a:ext>
                </a:extLst>
              </a:tr>
              <a:tr h="589987">
                <a:tc>
                  <a:txBody>
                    <a:bodyPr/>
                    <a:lstStyle/>
                    <a:p>
                      <a:r>
                        <a:rPr lang="en-US" altLang="zh-CN" sz="2400" dirty="0"/>
                        <a:t>Camera calibration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/>
                        <a:t> Good</a:t>
                      </a:r>
                      <a:endParaRPr lang="zh-CN" alt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0593366"/>
                  </a:ext>
                </a:extLst>
              </a:tr>
              <a:tr h="589987">
                <a:tc>
                  <a:txBody>
                    <a:bodyPr/>
                    <a:lstStyle/>
                    <a:p>
                      <a:r>
                        <a:rPr lang="en-US" altLang="zh-CN" sz="2400" dirty="0"/>
                        <a:t>Background removal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/>
                        <a:t> Good, but not precise enough</a:t>
                      </a:r>
                      <a:endParaRPr lang="zh-CN" alt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3156334"/>
                  </a:ext>
                </a:extLst>
              </a:tr>
              <a:tr h="589987">
                <a:tc>
                  <a:txBody>
                    <a:bodyPr/>
                    <a:lstStyle/>
                    <a:p>
                      <a:r>
                        <a:rPr lang="en-US" altLang="zh-CN" sz="2400" dirty="0"/>
                        <a:t>Single/merged point cloud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400" dirty="0"/>
                        <a:t> Good</a:t>
                      </a:r>
                      <a:endParaRPr lang="zh-CN" alt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7971770"/>
                  </a:ext>
                </a:extLst>
              </a:tr>
              <a:tr h="589987">
                <a:tc>
                  <a:txBody>
                    <a:bodyPr/>
                    <a:lstStyle/>
                    <a:p>
                      <a:r>
                        <a:rPr lang="en-US" altLang="zh-CN" sz="2400" dirty="0"/>
                        <a:t>Point Cloud to mesh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/>
                        <a:t> Lack of removing noise, cleaning data</a:t>
                      </a:r>
                      <a:endParaRPr lang="zh-CN" alt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1154113"/>
                  </a:ext>
                </a:extLst>
              </a:tr>
              <a:tr h="1055476">
                <a:tc>
                  <a:txBody>
                    <a:bodyPr/>
                    <a:lstStyle/>
                    <a:p>
                      <a:r>
                        <a:rPr lang="en-US" altLang="zh-CN" sz="2400" dirty="0"/>
                        <a:t>Mesh merging 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/>
                        <a:t> Using ICP merging the 2 point-clouds and transfer to mesh rather than merging the 2-single mesh</a:t>
                      </a:r>
                      <a:endParaRPr lang="zh-CN" alt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07195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6397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54C0FC0E-98CE-4C05-A26B-BA3F145A0753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02 University of Twente - Title Slides with Video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27C661BF-CB0D-4941-B353-0504BC820073}"/>
    </a:ext>
  </a:extLst>
</a:theme>
</file>

<file path=ppt/theme/theme3.xml><?xml version="1.0" encoding="utf-8"?>
<a:theme xmlns:a="http://schemas.openxmlformats.org/drawingml/2006/main" name="03 University of Twente - Table of content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74802353-F7F4-49F9-B146-127C2170665F}"/>
    </a:ext>
  </a:extLst>
</a:theme>
</file>

<file path=ppt/theme/theme4.xml><?xml version="1.0" encoding="utf-8"?>
<a:theme xmlns:a="http://schemas.openxmlformats.org/drawingml/2006/main" name="04 University of Twente - Chapter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E89F838F-CADD-4335-83E6-AD805E180CF6}"/>
    </a:ext>
  </a:extLst>
</a:theme>
</file>

<file path=ppt/theme/theme5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1B28633E-A413-498B-A4E2-0B096DA351CE}"/>
    </a:ext>
  </a:extLst>
</a:theme>
</file>

<file path=ppt/theme/theme6.xml><?xml version="1.0" encoding="utf-8"?>
<a:theme xmlns:a="http://schemas.openxmlformats.org/drawingml/2006/main" name="06 University of Twente - Imag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EF685AB9-EADC-4409-A685-C9D216DEE08D}"/>
    </a:ext>
  </a:extLst>
</a:theme>
</file>

<file path=ppt/theme/theme7.xml><?xml version="1.0" encoding="utf-8"?>
<a:theme xmlns:a="http://schemas.openxmlformats.org/drawingml/2006/main" name="07 University of Twente - Video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D4572B67-19AA-4CA5-88BA-A28199D0D01A}"/>
    </a:ext>
  </a:extLst>
</a:theme>
</file>

<file path=ppt/theme/theme8.xml><?xml version="1.0" encoding="utf-8"?>
<a:theme xmlns:a="http://schemas.openxmlformats.org/drawingml/2006/main" name="08 University of Twente - Closing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6509656B-76B3-4102-AFFA-BD59CF4C4A50}"/>
    </a:ext>
  </a:extLst>
</a:theme>
</file>

<file path=ppt/theme/theme9.xml><?xml version="1.0" encoding="utf-8"?>
<a:theme xmlns:a="http://schemas.openxmlformats.org/drawingml/2006/main" name="Titel slides UT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DB4E3237-73B0-4FAF-8C1C-85E79662D62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284f63f-cbf3-48ee-87f8-5c478837b7a6">
      <Terms xmlns="http://schemas.microsoft.com/office/infopath/2007/PartnerControls"/>
    </lcf76f155ced4ddcb4097134ff3c332f>
    <TaxCatchAll xmlns="a3580694-730a-4f86-8319-5f5d532b05a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DDAF222FBA324084ABBE78896BC302" ma:contentTypeVersion="13" ma:contentTypeDescription="Create a new document." ma:contentTypeScope="" ma:versionID="b9e82e0f69e0961ecaff4f3fea8380c9">
  <xsd:schema xmlns:xsd="http://www.w3.org/2001/XMLSchema" xmlns:xs="http://www.w3.org/2001/XMLSchema" xmlns:p="http://schemas.microsoft.com/office/2006/metadata/properties" xmlns:ns2="d284f63f-cbf3-48ee-87f8-5c478837b7a6" xmlns:ns3="a3580694-730a-4f86-8319-5f5d532b05a4" targetNamespace="http://schemas.microsoft.com/office/2006/metadata/properties" ma:root="true" ma:fieldsID="d11a5c9a78e1127c09ae3f379441dd21" ns2:_="" ns3:_="">
    <xsd:import namespace="d284f63f-cbf3-48ee-87f8-5c478837b7a6"/>
    <xsd:import namespace="a3580694-730a-4f86-8319-5f5d532b05a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84f63f-cbf3-48ee-87f8-5c478837b7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af58ba8-1e8d-4aec-a6f5-993f6032dc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580694-730a-4f86-8319-5f5d532b05a4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be5eda4b-e060-4fb4-90a0-c19bb014be62}" ma:internalName="TaxCatchAll" ma:showField="CatchAllData" ma:web="a3580694-730a-4f86-8319-5f5d532b05a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3F005D-20C1-47D7-855C-C5C9D4199643}">
  <ds:schemaRefs>
    <ds:schemaRef ds:uri="a3580694-730a-4f86-8319-5f5d532b05a4"/>
    <ds:schemaRef ds:uri="d284f63f-cbf3-48ee-87f8-5c478837b7a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BE148C8-C965-438B-824E-D034DC5E5454}">
  <ds:schemaRefs>
    <ds:schemaRef ds:uri="a3580694-730a-4f86-8319-5f5d532b05a4"/>
    <ds:schemaRef ds:uri="d284f63f-cbf3-48ee-87f8-5c478837b7a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rporate-presentation-university-of-twente</Template>
  <TotalTime>0</TotalTime>
  <Words>182</Words>
  <Application>Microsoft Office PowerPoint</Application>
  <PresentationFormat>宽屏</PresentationFormat>
  <Paragraphs>68</Paragraphs>
  <Slides>10</Slides>
  <Notes>9</Notes>
  <HiddenSlides>0</HiddenSlides>
  <MMClips>0</MMClips>
  <ScaleCrop>false</ScaleCrop>
  <HeadingPairs>
    <vt:vector size="6" baseType="variant">
      <vt:variant>
        <vt:lpstr>已用的字体</vt:lpstr>
      </vt:variant>
      <vt:variant>
        <vt:i4>3</vt:i4>
      </vt:variant>
      <vt:variant>
        <vt:lpstr>主题</vt:lpstr>
      </vt:variant>
      <vt:variant>
        <vt:i4>9</vt:i4>
      </vt:variant>
      <vt:variant>
        <vt:lpstr>幻灯片标题</vt:lpstr>
      </vt:variant>
      <vt:variant>
        <vt:i4>10</vt:i4>
      </vt:variant>
    </vt:vector>
  </HeadingPairs>
  <TitlesOfParts>
    <vt:vector size="22" baseType="lpstr">
      <vt:lpstr>Arial</vt:lpstr>
      <vt:lpstr>Arial Narrow</vt:lpstr>
      <vt:lpstr>Calibri</vt:lpstr>
      <vt:lpstr>01 University of Twente - Title Slides</vt:lpstr>
      <vt:lpstr>02 University of Twente - Title Slides with Video</vt:lpstr>
      <vt:lpstr>03 University of Twente - Table of contents</vt:lpstr>
      <vt:lpstr>04 University of Twente - Chapter slides</vt:lpstr>
      <vt:lpstr>05 University of Twente - Text slidesslides</vt:lpstr>
      <vt:lpstr>06 University of Twente - Image slides</vt:lpstr>
      <vt:lpstr>07 University of Twente - Video slides</vt:lpstr>
      <vt:lpstr>08 University of Twente - Closing slides</vt:lpstr>
      <vt:lpstr>Titel slides UT</vt:lpstr>
      <vt:lpstr>IPCV PROJECT 3D FACE reconstruction</vt:lpstr>
      <vt:lpstr>Steps overview</vt:lpstr>
      <vt:lpstr>Part1 Preprocessing</vt:lpstr>
      <vt:lpstr>Part2 Single MESH generation</vt:lpstr>
      <vt:lpstr>Part2 Single POINT could/mesh generation</vt:lpstr>
      <vt:lpstr>Part3 MERGING(ICP)</vt:lpstr>
      <vt:lpstr>Evaluation and discussion</vt:lpstr>
      <vt:lpstr>Evaluation and discussion</vt:lpstr>
      <vt:lpstr>Conclusion</vt:lpstr>
      <vt:lpstr>Other discus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ctions: READ ME!</dc:title>
  <dc:creator>Rodriguez Barrero, G.M. (Gonzalo, Student M-ROB)</dc:creator>
  <dc:description>Template by HQ Solutions</dc:description>
  <cp:lastModifiedBy>zhutongli@bjucd.com</cp:lastModifiedBy>
  <cp:revision>127</cp:revision>
  <dcterms:created xsi:type="dcterms:W3CDTF">2023-10-30T13:29:48Z</dcterms:created>
  <dcterms:modified xsi:type="dcterms:W3CDTF">2023-11-06T16:05:40Z</dcterms:modified>
</cp:coreProperties>
</file>